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2"/>
  </p:notesMasterIdLst>
  <p:sldIdLst>
    <p:sldId id="271" r:id="rId3"/>
    <p:sldId id="257" r:id="rId4"/>
    <p:sldId id="264" r:id="rId5"/>
    <p:sldId id="265" r:id="rId6"/>
    <p:sldId id="266" r:id="rId7"/>
    <p:sldId id="270" r:id="rId8"/>
    <p:sldId id="268" r:id="rId9"/>
    <p:sldId id="267" r:id="rId10"/>
    <p:sldId id="272" r:id="rId11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D8F9BB-D574-ED4E-AF02-F94E6E9EC402}" v="54" dt="2020-07-30T22:04:59.1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97"/>
    <p:restoredTop sz="94578"/>
  </p:normalViewPr>
  <p:slideViewPr>
    <p:cSldViewPr snapToGrid="0">
      <p:cViewPr varScale="1">
        <p:scale>
          <a:sx n="134" d="100"/>
          <a:sy n="134" d="100"/>
        </p:scale>
        <p:origin x="3000" y="176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customschemas.google.com/relationships/presentationmetadata" Target="metadata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chini Paidisetty" userId="6a8dc582-80f6-4ffb-8e1d-ea16b67c54bb" providerId="ADAL" clId="{F0D8F9BB-D574-ED4E-AF02-F94E6E9EC402}"/>
    <pc:docChg chg="undo custSel addSld delSld modSld sldOrd modMainMaster">
      <pc:chgData name="Rochini Paidisetty" userId="6a8dc582-80f6-4ffb-8e1d-ea16b67c54bb" providerId="ADAL" clId="{F0D8F9BB-D574-ED4E-AF02-F94E6E9EC402}" dt="2020-07-30T22:05:19.175" v="1030" actId="108"/>
      <pc:docMkLst>
        <pc:docMk/>
      </pc:docMkLst>
      <pc:sldChg chg="addSp delSp modSp del">
        <pc:chgData name="Rochini Paidisetty" userId="6a8dc582-80f6-4ffb-8e1d-ea16b67c54bb" providerId="ADAL" clId="{F0D8F9BB-D574-ED4E-AF02-F94E6E9EC402}" dt="2020-07-29T17:24:10.439" v="462" actId="2696"/>
        <pc:sldMkLst>
          <pc:docMk/>
          <pc:sldMk cId="0" sldId="256"/>
        </pc:sldMkLst>
        <pc:spChg chg="add del mod">
          <ac:chgData name="Rochini Paidisetty" userId="6a8dc582-80f6-4ffb-8e1d-ea16b67c54bb" providerId="ADAL" clId="{F0D8F9BB-D574-ED4E-AF02-F94E6E9EC402}" dt="2020-07-29T17:20:20.157" v="431" actId="478"/>
          <ac:spMkLst>
            <pc:docMk/>
            <pc:sldMk cId="0" sldId="256"/>
            <ac:spMk id="2" creationId="{DF14D5C7-1B73-9246-9DF9-9F05728E3355}"/>
          </ac:spMkLst>
        </pc:spChg>
        <pc:spChg chg="mod">
          <ac:chgData name="Rochini Paidisetty" userId="6a8dc582-80f6-4ffb-8e1d-ea16b67c54bb" providerId="ADAL" clId="{F0D8F9BB-D574-ED4E-AF02-F94E6E9EC402}" dt="2020-07-29T01:10:59.559" v="426" actId="20577"/>
          <ac:spMkLst>
            <pc:docMk/>
            <pc:sldMk cId="0" sldId="256"/>
            <ac:spMk id="42" creationId="{00000000-0000-0000-0000-000000000000}"/>
          </ac:spMkLst>
        </pc:spChg>
      </pc:sldChg>
      <pc:sldChg chg="modSp add">
        <pc:chgData name="Rochini Paidisetty" userId="6a8dc582-80f6-4ffb-8e1d-ea16b67c54bb" providerId="ADAL" clId="{F0D8F9BB-D574-ED4E-AF02-F94E6E9EC402}" dt="2020-07-30T21:54:22.730" v="507"/>
        <pc:sldMkLst>
          <pc:docMk/>
          <pc:sldMk cId="3277349912" sldId="257"/>
        </pc:sldMkLst>
        <pc:spChg chg="mod">
          <ac:chgData name="Rochini Paidisetty" userId="6a8dc582-80f6-4ffb-8e1d-ea16b67c54bb" providerId="ADAL" clId="{F0D8F9BB-D574-ED4E-AF02-F94E6E9EC402}" dt="2020-07-30T21:45:15.570" v="488" actId="20577"/>
          <ac:spMkLst>
            <pc:docMk/>
            <pc:sldMk cId="3277349912" sldId="257"/>
            <ac:spMk id="48" creationId="{00000000-0000-0000-0000-000000000000}"/>
          </ac:spMkLst>
        </pc:spChg>
        <pc:spChg chg="mod">
          <ac:chgData name="Rochini Paidisetty" userId="6a8dc582-80f6-4ffb-8e1d-ea16b67c54bb" providerId="ADAL" clId="{F0D8F9BB-D574-ED4E-AF02-F94E6E9EC402}" dt="2020-07-30T21:53:51.688" v="504"/>
          <ac:spMkLst>
            <pc:docMk/>
            <pc:sldMk cId="3277349912" sldId="257"/>
            <ac:spMk id="50" creationId="{00000000-0000-0000-0000-000000000000}"/>
          </ac:spMkLst>
        </pc:spChg>
        <pc:spChg chg="mod">
          <ac:chgData name="Rochini Paidisetty" userId="6a8dc582-80f6-4ffb-8e1d-ea16b67c54bb" providerId="ADAL" clId="{F0D8F9BB-D574-ED4E-AF02-F94E6E9EC402}" dt="2020-07-30T21:53:51.688" v="504"/>
          <ac:spMkLst>
            <pc:docMk/>
            <pc:sldMk cId="3277349912" sldId="257"/>
            <ac:spMk id="51" creationId="{00000000-0000-0000-0000-000000000000}"/>
          </ac:spMkLst>
        </pc:spChg>
        <pc:spChg chg="mod">
          <ac:chgData name="Rochini Paidisetty" userId="6a8dc582-80f6-4ffb-8e1d-ea16b67c54bb" providerId="ADAL" clId="{F0D8F9BB-D574-ED4E-AF02-F94E6E9EC402}" dt="2020-07-30T21:53:51.688" v="504"/>
          <ac:spMkLst>
            <pc:docMk/>
            <pc:sldMk cId="3277349912" sldId="257"/>
            <ac:spMk id="52" creationId="{00000000-0000-0000-0000-000000000000}"/>
          </ac:spMkLst>
        </pc:spChg>
        <pc:spChg chg="mod">
          <ac:chgData name="Rochini Paidisetty" userId="6a8dc582-80f6-4ffb-8e1d-ea16b67c54bb" providerId="ADAL" clId="{F0D8F9BB-D574-ED4E-AF02-F94E6E9EC402}" dt="2020-07-30T21:53:51.688" v="504"/>
          <ac:spMkLst>
            <pc:docMk/>
            <pc:sldMk cId="3277349912" sldId="257"/>
            <ac:spMk id="53" creationId="{00000000-0000-0000-0000-000000000000}"/>
          </ac:spMkLst>
        </pc:spChg>
        <pc:spChg chg="mod">
          <ac:chgData name="Rochini Paidisetty" userId="6a8dc582-80f6-4ffb-8e1d-ea16b67c54bb" providerId="ADAL" clId="{F0D8F9BB-D574-ED4E-AF02-F94E6E9EC402}" dt="2020-07-30T21:53:51.688" v="504"/>
          <ac:spMkLst>
            <pc:docMk/>
            <pc:sldMk cId="3277349912" sldId="257"/>
            <ac:spMk id="54" creationId="{00000000-0000-0000-0000-000000000000}"/>
          </ac:spMkLst>
        </pc:spChg>
        <pc:spChg chg="mod">
          <ac:chgData name="Rochini Paidisetty" userId="6a8dc582-80f6-4ffb-8e1d-ea16b67c54bb" providerId="ADAL" clId="{F0D8F9BB-D574-ED4E-AF02-F94E6E9EC402}" dt="2020-07-30T21:54:11.902" v="506" actId="108"/>
          <ac:spMkLst>
            <pc:docMk/>
            <pc:sldMk cId="3277349912" sldId="257"/>
            <ac:spMk id="63" creationId="{00000000-0000-0000-0000-000000000000}"/>
          </ac:spMkLst>
        </pc:spChg>
        <pc:spChg chg="mod">
          <ac:chgData name="Rochini Paidisetty" userId="6a8dc582-80f6-4ffb-8e1d-ea16b67c54bb" providerId="ADAL" clId="{F0D8F9BB-D574-ED4E-AF02-F94E6E9EC402}" dt="2020-07-30T21:54:22.730" v="507"/>
          <ac:spMkLst>
            <pc:docMk/>
            <pc:sldMk cId="3277349912" sldId="257"/>
            <ac:spMk id="64" creationId="{00000000-0000-0000-0000-000000000000}"/>
          </ac:spMkLst>
        </pc:spChg>
        <pc:grpChg chg="mod">
          <ac:chgData name="Rochini Paidisetty" userId="6a8dc582-80f6-4ffb-8e1d-ea16b67c54bb" providerId="ADAL" clId="{F0D8F9BB-D574-ED4E-AF02-F94E6E9EC402}" dt="2020-07-30T21:53:51.688" v="504"/>
          <ac:grpSpMkLst>
            <pc:docMk/>
            <pc:sldMk cId="3277349912" sldId="257"/>
            <ac:grpSpMk id="49" creationId="{00000000-0000-0000-0000-000000000000}"/>
          </ac:grpSpMkLst>
        </pc:grpChg>
      </pc:sldChg>
      <pc:sldChg chg="modSp">
        <pc:chgData name="Rochini Paidisetty" userId="6a8dc582-80f6-4ffb-8e1d-ea16b67c54bb" providerId="ADAL" clId="{F0D8F9BB-D574-ED4E-AF02-F94E6E9EC402}" dt="2020-07-29T01:09:29.626" v="414" actId="20577"/>
        <pc:sldMkLst>
          <pc:docMk/>
          <pc:sldMk cId="1389451978" sldId="267"/>
        </pc:sldMkLst>
        <pc:spChg chg="mod">
          <ac:chgData name="Rochini Paidisetty" userId="6a8dc582-80f6-4ffb-8e1d-ea16b67c54bb" providerId="ADAL" clId="{F0D8F9BB-D574-ED4E-AF02-F94E6E9EC402}" dt="2020-07-29T01:09:29.626" v="414" actId="20577"/>
          <ac:spMkLst>
            <pc:docMk/>
            <pc:sldMk cId="1389451978" sldId="267"/>
            <ac:spMk id="2" creationId="{FEB6D4E0-517D-A44A-B162-DDEF3FDF721D}"/>
          </ac:spMkLst>
        </pc:spChg>
      </pc:sldChg>
      <pc:sldChg chg="addSp modSp add">
        <pc:chgData name="Rochini Paidisetty" userId="6a8dc582-80f6-4ffb-8e1d-ea16b67c54bb" providerId="ADAL" clId="{F0D8F9BB-D574-ED4E-AF02-F94E6E9EC402}" dt="2020-07-29T01:06:33.194" v="226" actId="20577"/>
        <pc:sldMkLst>
          <pc:docMk/>
          <pc:sldMk cId="2473191512" sldId="268"/>
        </pc:sldMkLst>
        <pc:spChg chg="mod">
          <ac:chgData name="Rochini Paidisetty" userId="6a8dc582-80f6-4ffb-8e1d-ea16b67c54bb" providerId="ADAL" clId="{F0D8F9BB-D574-ED4E-AF02-F94E6E9EC402}" dt="2020-07-29T01:06:33.194" v="226" actId="20577"/>
          <ac:spMkLst>
            <pc:docMk/>
            <pc:sldMk cId="2473191512" sldId="268"/>
            <ac:spMk id="2" creationId="{7D09E1AD-8C3E-934B-9F50-EFC9700EBCDC}"/>
          </ac:spMkLst>
        </pc:spChg>
        <pc:picChg chg="add mod">
          <ac:chgData name="Rochini Paidisetty" userId="6a8dc582-80f6-4ffb-8e1d-ea16b67c54bb" providerId="ADAL" clId="{F0D8F9BB-D574-ED4E-AF02-F94E6E9EC402}" dt="2020-07-29T01:03:23.347" v="4" actId="14100"/>
          <ac:picMkLst>
            <pc:docMk/>
            <pc:sldMk cId="2473191512" sldId="268"/>
            <ac:picMk id="3" creationId="{EE68F965-731D-4A40-A41E-1CBE49F75093}"/>
          </ac:picMkLst>
        </pc:picChg>
      </pc:sldChg>
      <pc:sldChg chg="add del">
        <pc:chgData name="Rochini Paidisetty" userId="6a8dc582-80f6-4ffb-8e1d-ea16b67c54bb" providerId="ADAL" clId="{F0D8F9BB-D574-ED4E-AF02-F94E6E9EC402}" dt="2020-07-29T17:20:09.731" v="429" actId="2696"/>
        <pc:sldMkLst>
          <pc:docMk/>
          <pc:sldMk cId="1540733099" sldId="269"/>
        </pc:sldMkLst>
      </pc:sldChg>
      <pc:sldChg chg="modSp add">
        <pc:chgData name="Rochini Paidisetty" userId="6a8dc582-80f6-4ffb-8e1d-ea16b67c54bb" providerId="ADAL" clId="{F0D8F9BB-D574-ED4E-AF02-F94E6E9EC402}" dt="2020-07-29T17:25:30.029" v="464" actId="404"/>
        <pc:sldMkLst>
          <pc:docMk/>
          <pc:sldMk cId="3746265491" sldId="270"/>
        </pc:sldMkLst>
        <pc:spChg chg="mod">
          <ac:chgData name="Rochini Paidisetty" userId="6a8dc582-80f6-4ffb-8e1d-ea16b67c54bb" providerId="ADAL" clId="{F0D8F9BB-D574-ED4E-AF02-F94E6E9EC402}" dt="2020-07-29T17:25:30.029" v="464" actId="404"/>
          <ac:spMkLst>
            <pc:docMk/>
            <pc:sldMk cId="3746265491" sldId="270"/>
            <ac:spMk id="2" creationId="{41208D98-E095-054F-9CD7-75BC99C214CD}"/>
          </ac:spMkLst>
        </pc:spChg>
      </pc:sldChg>
      <pc:sldChg chg="addSp delSp modSp add">
        <pc:chgData name="Rochini Paidisetty" userId="6a8dc582-80f6-4ffb-8e1d-ea16b67c54bb" providerId="ADAL" clId="{F0D8F9BB-D574-ED4E-AF02-F94E6E9EC402}" dt="2020-07-29T17:24:00.361" v="461"/>
        <pc:sldMkLst>
          <pc:docMk/>
          <pc:sldMk cId="24243161" sldId="271"/>
        </pc:sldMkLst>
        <pc:spChg chg="mod">
          <ac:chgData name="Rochini Paidisetty" userId="6a8dc582-80f6-4ffb-8e1d-ea16b67c54bb" providerId="ADAL" clId="{F0D8F9BB-D574-ED4E-AF02-F94E6E9EC402}" dt="2020-07-29T17:22:57.896" v="455" actId="14100"/>
          <ac:spMkLst>
            <pc:docMk/>
            <pc:sldMk cId="24243161" sldId="271"/>
            <ac:spMk id="2" creationId="{182F740A-DA11-DB43-BFD7-C8D445055026}"/>
          </ac:spMkLst>
        </pc:spChg>
        <pc:spChg chg="add del mod">
          <ac:chgData name="Rochini Paidisetty" userId="6a8dc582-80f6-4ffb-8e1d-ea16b67c54bb" providerId="ADAL" clId="{F0D8F9BB-D574-ED4E-AF02-F94E6E9EC402}" dt="2020-07-29T17:21:27.179" v="449"/>
          <ac:spMkLst>
            <pc:docMk/>
            <pc:sldMk cId="24243161" sldId="271"/>
            <ac:spMk id="3" creationId="{DEE59396-1EFC-D243-8226-7AD2EFC38F4D}"/>
          </ac:spMkLst>
        </pc:spChg>
        <pc:spChg chg="add mod">
          <ac:chgData name="Rochini Paidisetty" userId="6a8dc582-80f6-4ffb-8e1d-ea16b67c54bb" providerId="ADAL" clId="{F0D8F9BB-D574-ED4E-AF02-F94E6E9EC402}" dt="2020-07-29T17:23:39.788" v="459" actId="207"/>
          <ac:spMkLst>
            <pc:docMk/>
            <pc:sldMk cId="24243161" sldId="271"/>
            <ac:spMk id="4" creationId="{154C3E9C-B862-3447-A608-78B1B13414CF}"/>
          </ac:spMkLst>
        </pc:spChg>
        <pc:spChg chg="add mod">
          <ac:chgData name="Rochini Paidisetty" userId="6a8dc582-80f6-4ffb-8e1d-ea16b67c54bb" providerId="ADAL" clId="{F0D8F9BB-D574-ED4E-AF02-F94E6E9EC402}" dt="2020-07-29T17:23:51.339" v="460"/>
          <ac:spMkLst>
            <pc:docMk/>
            <pc:sldMk cId="24243161" sldId="271"/>
            <ac:spMk id="5" creationId="{8B8C423D-C839-4045-AF4C-7182ADB8E31F}"/>
          </ac:spMkLst>
        </pc:spChg>
        <pc:spChg chg="add mod">
          <ac:chgData name="Rochini Paidisetty" userId="6a8dc582-80f6-4ffb-8e1d-ea16b67c54bb" providerId="ADAL" clId="{F0D8F9BB-D574-ED4E-AF02-F94E6E9EC402}" dt="2020-07-29T17:24:00.361" v="461"/>
          <ac:spMkLst>
            <pc:docMk/>
            <pc:sldMk cId="24243161" sldId="271"/>
            <ac:spMk id="6" creationId="{6999D97F-91C9-4D49-BE5B-51698FD2720E}"/>
          </ac:spMkLst>
        </pc:spChg>
      </pc:sldChg>
      <pc:sldChg chg="modSp add del">
        <pc:chgData name="Rochini Paidisetty" userId="6a8dc582-80f6-4ffb-8e1d-ea16b67c54bb" providerId="ADAL" clId="{F0D8F9BB-D574-ED4E-AF02-F94E6E9EC402}" dt="2020-07-29T17:20:58.214" v="444" actId="2696"/>
        <pc:sldMkLst>
          <pc:docMk/>
          <pc:sldMk cId="504718452" sldId="271"/>
        </pc:sldMkLst>
        <pc:spChg chg="mod">
          <ac:chgData name="Rochini Paidisetty" userId="6a8dc582-80f6-4ffb-8e1d-ea16b67c54bb" providerId="ADAL" clId="{F0D8F9BB-D574-ED4E-AF02-F94E6E9EC402}" dt="2020-07-29T17:20:51.337" v="443"/>
          <ac:spMkLst>
            <pc:docMk/>
            <pc:sldMk cId="504718452" sldId="271"/>
            <ac:spMk id="2" creationId="{BEBEF516-6118-FF42-A022-F22CB0160762}"/>
          </ac:spMkLst>
        </pc:spChg>
      </pc:sldChg>
      <pc:sldChg chg="addSp delSp modSp add">
        <pc:chgData name="Rochini Paidisetty" userId="6a8dc582-80f6-4ffb-8e1d-ea16b67c54bb" providerId="ADAL" clId="{F0D8F9BB-D574-ED4E-AF02-F94E6E9EC402}" dt="2020-07-30T22:05:19.175" v="1030" actId="108"/>
        <pc:sldMkLst>
          <pc:docMk/>
          <pc:sldMk cId="1837001021" sldId="272"/>
        </pc:sldMkLst>
        <pc:spChg chg="mod">
          <ac:chgData name="Rochini Paidisetty" userId="6a8dc582-80f6-4ffb-8e1d-ea16b67c54bb" providerId="ADAL" clId="{F0D8F9BB-D574-ED4E-AF02-F94E6E9EC402}" dt="2020-07-30T21:54:51.822" v="533" actId="20577"/>
          <ac:spMkLst>
            <pc:docMk/>
            <pc:sldMk cId="1837001021" sldId="272"/>
            <ac:spMk id="2" creationId="{0B4E06EB-DD1E-AE47-B15E-A1920EA29680}"/>
          </ac:spMkLst>
        </pc:spChg>
        <pc:spChg chg="add del mod">
          <ac:chgData name="Rochini Paidisetty" userId="6a8dc582-80f6-4ffb-8e1d-ea16b67c54bb" providerId="ADAL" clId="{F0D8F9BB-D574-ED4E-AF02-F94E6E9EC402}" dt="2020-07-30T21:55:03.046" v="543" actId="767"/>
          <ac:spMkLst>
            <pc:docMk/>
            <pc:sldMk cId="1837001021" sldId="272"/>
            <ac:spMk id="3" creationId="{24106B66-F9FD-E043-8C45-6B40EC77F2B0}"/>
          </ac:spMkLst>
        </pc:spChg>
        <pc:spChg chg="add mod">
          <ac:chgData name="Rochini Paidisetty" userId="6a8dc582-80f6-4ffb-8e1d-ea16b67c54bb" providerId="ADAL" clId="{F0D8F9BB-D574-ED4E-AF02-F94E6E9EC402}" dt="2020-07-30T21:55:21.728" v="546" actId="207"/>
          <ac:spMkLst>
            <pc:docMk/>
            <pc:sldMk cId="1837001021" sldId="272"/>
            <ac:spMk id="4" creationId="{CC513F21-E153-4642-A94B-CAC54CFB1FAA}"/>
          </ac:spMkLst>
        </pc:spChg>
        <pc:spChg chg="add mod">
          <ac:chgData name="Rochini Paidisetty" userId="6a8dc582-80f6-4ffb-8e1d-ea16b67c54bb" providerId="ADAL" clId="{F0D8F9BB-D574-ED4E-AF02-F94E6E9EC402}" dt="2020-07-30T22:05:19.175" v="1030" actId="108"/>
          <ac:spMkLst>
            <pc:docMk/>
            <pc:sldMk cId="1837001021" sldId="272"/>
            <ac:spMk id="5" creationId="{21317C6B-A252-364B-8264-BA8F450FA5E7}"/>
          </ac:spMkLst>
        </pc:spChg>
      </pc:sldChg>
      <pc:sldChg chg="add del">
        <pc:chgData name="Rochini Paidisetty" userId="6a8dc582-80f6-4ffb-8e1d-ea16b67c54bb" providerId="ADAL" clId="{F0D8F9BB-D574-ED4E-AF02-F94E6E9EC402}" dt="2020-07-30T21:05:39.495" v="466" actId="2696"/>
        <pc:sldMkLst>
          <pc:docMk/>
          <pc:sldMk cId="2195746991" sldId="272"/>
        </pc:sldMkLst>
      </pc:sldChg>
      <pc:sldChg chg="modSp add del ord">
        <pc:chgData name="Rochini Paidisetty" userId="6a8dc582-80f6-4ffb-8e1d-ea16b67c54bb" providerId="ADAL" clId="{F0D8F9BB-D574-ED4E-AF02-F94E6E9EC402}" dt="2020-07-30T21:54:28.941" v="508" actId="2696"/>
        <pc:sldMkLst>
          <pc:docMk/>
          <pc:sldMk cId="2861086139" sldId="272"/>
        </pc:sldMkLst>
        <pc:spChg chg="mod">
          <ac:chgData name="Rochini Paidisetty" userId="6a8dc582-80f6-4ffb-8e1d-ea16b67c54bb" providerId="ADAL" clId="{F0D8F9BB-D574-ED4E-AF02-F94E6E9EC402}" dt="2020-07-30T21:44:23.416" v="475" actId="14100"/>
          <ac:spMkLst>
            <pc:docMk/>
            <pc:sldMk cId="2861086139" sldId="272"/>
            <ac:spMk id="2" creationId="{34054014-645C-4842-9A46-F74E09101C65}"/>
          </ac:spMkLst>
        </pc:spChg>
      </pc:sldChg>
      <pc:sldMasterChg chg="delSldLayout">
        <pc:chgData name="Rochini Paidisetty" userId="6a8dc582-80f6-4ffb-8e1d-ea16b67c54bb" providerId="ADAL" clId="{F0D8F9BB-D574-ED4E-AF02-F94E6E9EC402}" dt="2020-07-29T17:24:10.467" v="463" actId="2696"/>
        <pc:sldMasterMkLst>
          <pc:docMk/>
          <pc:sldMasterMk cId="0" sldId="2147483648"/>
        </pc:sldMasterMkLst>
        <pc:sldLayoutChg chg="del">
          <pc:chgData name="Rochini Paidisetty" userId="6a8dc582-80f6-4ffb-8e1d-ea16b67c54bb" providerId="ADAL" clId="{F0D8F9BB-D574-ED4E-AF02-F94E6E9EC402}" dt="2020-07-29T17:24:10.467" v="463" actId="2696"/>
          <pc:sldLayoutMkLst>
            <pc:docMk/>
            <pc:sldMasterMk cId="0" sldId="2147483648"/>
            <pc:sldLayoutMk cId="0" sldId="2147483649"/>
          </pc:sldLayoutMkLst>
        </pc:sldLayoutChg>
      </pc:sldMasterChg>
      <pc:sldMasterChg chg="modSldLayout">
        <pc:chgData name="Rochini Paidisetty" userId="6a8dc582-80f6-4ffb-8e1d-ea16b67c54bb" providerId="ADAL" clId="{F0D8F9BB-D574-ED4E-AF02-F94E6E9EC402}" dt="2020-07-29T17:22:10.706" v="450"/>
        <pc:sldMasterMkLst>
          <pc:docMk/>
          <pc:sldMasterMk cId="2708404247" sldId="2147483651"/>
        </pc:sldMasterMkLst>
        <pc:sldLayoutChg chg="delSp">
          <pc:chgData name="Rochini Paidisetty" userId="6a8dc582-80f6-4ffb-8e1d-ea16b67c54bb" providerId="ADAL" clId="{F0D8F9BB-D574-ED4E-AF02-F94E6E9EC402}" dt="2020-07-29T17:22:10.706" v="450"/>
          <pc:sldLayoutMkLst>
            <pc:docMk/>
            <pc:sldMasterMk cId="2708404247" sldId="2147483651"/>
            <pc:sldLayoutMk cId="2997572861" sldId="2147483663"/>
          </pc:sldLayoutMkLst>
          <pc:graphicFrameChg chg="del">
            <ac:chgData name="Rochini Paidisetty" userId="6a8dc582-80f6-4ffb-8e1d-ea16b67c54bb" providerId="ADAL" clId="{F0D8F9BB-D574-ED4E-AF02-F94E6E9EC402}" dt="2020-07-29T17:22:10.706" v="450"/>
            <ac:graphicFrameMkLst>
              <pc:docMk/>
              <pc:sldMasterMk cId="2708404247" sldId="2147483651"/>
              <pc:sldLayoutMk cId="2997572861" sldId="2147483663"/>
              <ac:graphicFrameMk id="21" creationId="{00000000-0000-0000-0000-000000000000}"/>
            </ac:graphicFrameMkLst>
          </pc:graphicFrameChg>
          <pc:cxnChg chg="del">
            <ac:chgData name="Rochini Paidisetty" userId="6a8dc582-80f6-4ffb-8e1d-ea16b67c54bb" providerId="ADAL" clId="{F0D8F9BB-D574-ED4E-AF02-F94E6E9EC402}" dt="2020-07-29T17:22:10.706" v="450"/>
            <ac:cxnSpMkLst>
              <pc:docMk/>
              <pc:sldMasterMk cId="2708404247" sldId="2147483651"/>
              <pc:sldLayoutMk cId="2997572861" sldId="2147483663"/>
              <ac:cxnSpMk id="23" creationId="{00000000-0000-0000-0000-000000000000}"/>
            </ac:cxnSpMkLst>
          </pc:cxnChg>
        </pc:sldLayoutChg>
      </pc:sldMasterChg>
      <pc:sldMasterChg chg="modSldLayout">
        <pc:chgData name="Rochini Paidisetty" userId="6a8dc582-80f6-4ffb-8e1d-ea16b67c54bb" providerId="ADAL" clId="{F0D8F9BB-D574-ED4E-AF02-F94E6E9EC402}" dt="2020-07-29T17:20:46.394" v="441"/>
        <pc:sldMasterMkLst>
          <pc:docMk/>
          <pc:sldMasterMk cId="4216332799" sldId="2147483651"/>
        </pc:sldMasterMkLst>
        <pc:sldLayoutChg chg="addSp delSp">
          <pc:chgData name="Rochini Paidisetty" userId="6a8dc582-80f6-4ffb-8e1d-ea16b67c54bb" providerId="ADAL" clId="{F0D8F9BB-D574-ED4E-AF02-F94E6E9EC402}" dt="2020-07-29T17:20:46.394" v="441"/>
          <pc:sldLayoutMkLst>
            <pc:docMk/>
            <pc:sldMasterMk cId="4216332799" sldId="2147483651"/>
            <pc:sldLayoutMk cId="2404928347" sldId="2147483663"/>
          </pc:sldLayoutMkLst>
          <pc:spChg chg="add del">
            <ac:chgData name="Rochini Paidisetty" userId="6a8dc582-80f6-4ffb-8e1d-ea16b67c54bb" providerId="ADAL" clId="{F0D8F9BB-D574-ED4E-AF02-F94E6E9EC402}" dt="2020-07-29T17:20:46.394" v="441"/>
            <ac:spMkLst>
              <pc:docMk/>
              <pc:sldMasterMk cId="4216332799" sldId="2147483651"/>
              <pc:sldLayoutMk cId="2404928347" sldId="2147483663"/>
              <ac:spMk id="14" creationId="{00000000-0000-0000-0000-000000000000}"/>
            </ac:spMkLst>
          </pc:spChg>
          <pc:spChg chg="add del">
            <ac:chgData name="Rochini Paidisetty" userId="6a8dc582-80f6-4ffb-8e1d-ea16b67c54bb" providerId="ADAL" clId="{F0D8F9BB-D574-ED4E-AF02-F94E6E9EC402}" dt="2020-07-29T17:20:46.394" v="441"/>
            <ac:spMkLst>
              <pc:docMk/>
              <pc:sldMasterMk cId="4216332799" sldId="2147483651"/>
              <pc:sldLayoutMk cId="2404928347" sldId="2147483663"/>
              <ac:spMk id="18" creationId="{00000000-0000-0000-0000-000000000000}"/>
            </ac:spMkLst>
          </pc:spChg>
          <pc:graphicFrameChg chg="add del">
            <ac:chgData name="Rochini Paidisetty" userId="6a8dc582-80f6-4ffb-8e1d-ea16b67c54bb" providerId="ADAL" clId="{F0D8F9BB-D574-ED4E-AF02-F94E6E9EC402}" dt="2020-07-29T17:20:46.394" v="441"/>
            <ac:graphicFrameMkLst>
              <pc:docMk/>
              <pc:sldMasterMk cId="4216332799" sldId="2147483651"/>
              <pc:sldLayoutMk cId="2404928347" sldId="2147483663"/>
              <ac:graphicFrameMk id="15" creationId="{00000000-0000-0000-0000-000000000000}"/>
            </ac:graphicFrameMkLst>
          </pc:graphicFrameChg>
          <pc:picChg chg="add del">
            <ac:chgData name="Rochini Paidisetty" userId="6a8dc582-80f6-4ffb-8e1d-ea16b67c54bb" providerId="ADAL" clId="{F0D8F9BB-D574-ED4E-AF02-F94E6E9EC402}" dt="2020-07-29T17:20:46.394" v="441"/>
            <ac:picMkLst>
              <pc:docMk/>
              <pc:sldMasterMk cId="4216332799" sldId="2147483651"/>
              <pc:sldLayoutMk cId="2404928347" sldId="2147483663"/>
              <ac:picMk id="19" creationId="{00000000-0000-0000-0000-000000000000}"/>
            </ac:picMkLst>
          </pc:picChg>
        </pc:sldLayoutChg>
        <pc:sldLayoutChg chg="addSp delSp">
          <pc:chgData name="Rochini Paidisetty" userId="6a8dc582-80f6-4ffb-8e1d-ea16b67c54bb" providerId="ADAL" clId="{F0D8F9BB-D574-ED4E-AF02-F94E6E9EC402}" dt="2020-07-29T17:20:46.394" v="441"/>
          <pc:sldLayoutMkLst>
            <pc:docMk/>
            <pc:sldMasterMk cId="4216332799" sldId="2147483651"/>
            <pc:sldLayoutMk cId="3784317167" sldId="2147483664"/>
          </pc:sldLayoutMkLst>
          <pc:graphicFrameChg chg="add del">
            <ac:chgData name="Rochini Paidisetty" userId="6a8dc582-80f6-4ffb-8e1d-ea16b67c54bb" providerId="ADAL" clId="{F0D8F9BB-D574-ED4E-AF02-F94E6E9EC402}" dt="2020-07-29T17:20:46.394" v="441"/>
            <ac:graphicFrameMkLst>
              <pc:docMk/>
              <pc:sldMasterMk cId="4216332799" sldId="2147483651"/>
              <pc:sldLayoutMk cId="3784317167" sldId="2147483664"/>
              <ac:graphicFrameMk id="21" creationId="{00000000-0000-0000-0000-000000000000}"/>
            </ac:graphicFrameMkLst>
          </pc:graphicFrameChg>
          <pc:cxnChg chg="add del">
            <ac:chgData name="Rochini Paidisetty" userId="6a8dc582-80f6-4ffb-8e1d-ea16b67c54bb" providerId="ADAL" clId="{F0D8F9BB-D574-ED4E-AF02-F94E6E9EC402}" dt="2020-07-29T17:20:46.394" v="441"/>
            <ac:cxnSpMkLst>
              <pc:docMk/>
              <pc:sldMasterMk cId="4216332799" sldId="2147483651"/>
              <pc:sldLayoutMk cId="3784317167" sldId="2147483664"/>
              <ac:cxnSpMk id="23" creationId="{00000000-0000-0000-0000-000000000000}"/>
            </ac:cxnSpMkLst>
          </pc:cxn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43266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31297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8B535-AC5E-5848-AB6F-ED99B476B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266" y="448098"/>
            <a:ext cx="2890297" cy="1568344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03A81E-E2CC-0945-A3BF-CF59343994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09778" y="967768"/>
            <a:ext cx="4536728" cy="4776604"/>
          </a:xfrm>
        </p:spPr>
        <p:txBody>
          <a:bodyPr/>
          <a:lstStyle>
            <a:lvl1pPr marL="0" indent="0">
              <a:buNone/>
              <a:defRPr sz="2352"/>
            </a:lvl1pPr>
            <a:lvl2pPr marL="336042" indent="0">
              <a:buNone/>
              <a:defRPr sz="2058"/>
            </a:lvl2pPr>
            <a:lvl3pPr marL="672084" indent="0">
              <a:buNone/>
              <a:defRPr sz="1764"/>
            </a:lvl3pPr>
            <a:lvl4pPr marL="1008126" indent="0">
              <a:buNone/>
              <a:defRPr sz="1470"/>
            </a:lvl4pPr>
            <a:lvl5pPr marL="1344168" indent="0">
              <a:buNone/>
              <a:defRPr sz="1470"/>
            </a:lvl5pPr>
            <a:lvl6pPr marL="1680210" indent="0">
              <a:buNone/>
              <a:defRPr sz="1470"/>
            </a:lvl6pPr>
            <a:lvl7pPr marL="2016252" indent="0">
              <a:buNone/>
              <a:defRPr sz="1470"/>
            </a:lvl7pPr>
            <a:lvl8pPr marL="2352294" indent="0">
              <a:buNone/>
              <a:defRPr sz="1470"/>
            </a:lvl8pPr>
            <a:lvl9pPr marL="2688336" indent="0">
              <a:buNone/>
              <a:defRPr sz="147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819AFD-0259-F149-B58D-60B6A217C3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7266" y="2016443"/>
            <a:ext cx="2890297" cy="3735709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DCF789-8B02-5740-8112-401B90292A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EE6C57-65B9-3A48-A9B7-378BFC72A2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2078B8-7E4B-B247-8E5E-C0ED35BE4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7601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0AB305-C6BC-B14E-813A-7A324A619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A2A4071-5A86-BD48-A6B2-95797BE820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E73CA4-CF8E-7643-AAE7-D6A6C086F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CCE25E-F60C-804F-B882-CD93B5126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C30C5C-B1D1-F04A-84F0-AC55E9330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90907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8AFAF1-53B2-6A49-9650-FAFEB8114F9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413029" y="357856"/>
            <a:ext cx="1932310" cy="56961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EFFF528-F2CC-574B-A5F6-F636C1EDD4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16099" y="357856"/>
            <a:ext cx="5684912" cy="56961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14610C-DA61-304E-A3E0-3518D04FD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F725E3-C4A9-2244-93FB-321257EB5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7C1F58-D24D-2A4B-A87E-2D87C9C6C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79348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97572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80E9E-B0E4-5641-910A-C86C094920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0180" y="1100020"/>
            <a:ext cx="6721079" cy="2340069"/>
          </a:xfrm>
        </p:spPr>
        <p:txBody>
          <a:bodyPr anchor="b"/>
          <a:lstStyle>
            <a:lvl1pPr algn="ctr">
              <a:defRPr sz="441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8B6E4F-4C6D-5240-9386-C290EBDDEF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0180" y="3530331"/>
            <a:ext cx="6721079" cy="1622800"/>
          </a:xfrm>
        </p:spPr>
        <p:txBody>
          <a:bodyPr/>
          <a:lstStyle>
            <a:lvl1pPr marL="0" indent="0" algn="ctr">
              <a:buNone/>
              <a:defRPr sz="1764"/>
            </a:lvl1pPr>
            <a:lvl2pPr marL="336042" indent="0" algn="ctr">
              <a:buNone/>
              <a:defRPr sz="1470"/>
            </a:lvl2pPr>
            <a:lvl3pPr marL="672084" indent="0" algn="ctr">
              <a:buNone/>
              <a:defRPr sz="1323"/>
            </a:lvl3pPr>
            <a:lvl4pPr marL="1008126" indent="0" algn="ctr">
              <a:buNone/>
              <a:defRPr sz="1176"/>
            </a:lvl4pPr>
            <a:lvl5pPr marL="1344168" indent="0" algn="ctr">
              <a:buNone/>
              <a:defRPr sz="1176"/>
            </a:lvl5pPr>
            <a:lvl6pPr marL="1680210" indent="0" algn="ctr">
              <a:buNone/>
              <a:defRPr sz="1176"/>
            </a:lvl6pPr>
            <a:lvl7pPr marL="2016252" indent="0" algn="ctr">
              <a:buNone/>
              <a:defRPr sz="1176"/>
            </a:lvl7pPr>
            <a:lvl8pPr marL="2352294" indent="0" algn="ctr">
              <a:buNone/>
              <a:defRPr sz="1176"/>
            </a:lvl8pPr>
            <a:lvl9pPr marL="2688336" indent="0" algn="ctr">
              <a:buNone/>
              <a:defRPr sz="1176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6B20C4-28B9-5948-AC49-1489E2640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F5EF5-2CBD-0146-9B45-B9CC5EAD61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152F37-DB40-8A4C-9B4E-8F04A81BE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4947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A013C-2FBC-8440-B258-F957457F4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A2E1DF-73F7-094F-B53C-295FAE9039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B02AF9-EF1C-EF47-B902-EDAB951026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BAA4FC-9121-BF4B-B7B8-AEE461C28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DF1B3-177C-FD40-8E1C-A96C7B33A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454691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465DC-B6F2-494D-A754-88F6A2A24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432" y="1675702"/>
            <a:ext cx="7729240" cy="2795946"/>
          </a:xfrm>
        </p:spPr>
        <p:txBody>
          <a:bodyPr anchor="b"/>
          <a:lstStyle>
            <a:lvl1pPr>
              <a:defRPr sz="441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F69FBD-06A5-AA4A-A131-7DE975F066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1432" y="4498099"/>
            <a:ext cx="7729240" cy="1470322"/>
          </a:xfrm>
        </p:spPr>
        <p:txBody>
          <a:bodyPr/>
          <a:lstStyle>
            <a:lvl1pPr marL="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1pPr>
            <a:lvl2pPr marL="336042" indent="0">
              <a:buNone/>
              <a:defRPr sz="1470">
                <a:solidFill>
                  <a:schemeClr val="tx1">
                    <a:tint val="75000"/>
                  </a:schemeClr>
                </a:solidFill>
              </a:defRPr>
            </a:lvl2pPr>
            <a:lvl3pPr marL="67208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3pPr>
            <a:lvl4pPr marL="100812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4pPr>
            <a:lvl5pPr marL="1344168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5pPr>
            <a:lvl6pPr marL="1680210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6pPr>
            <a:lvl7pPr marL="2016252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7pPr>
            <a:lvl8pPr marL="2352294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8pPr>
            <a:lvl9pPr marL="268833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935385-265D-9A42-A222-BAE019870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F4D3E3-A636-4647-83E6-9C9801AE96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F17662-830C-7448-99E8-C913B459F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603167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9F03C1-0D2C-F949-80B8-88F03B0BF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DDBDFD-E9E7-5347-84A8-86BC1F139D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6099" y="1789282"/>
            <a:ext cx="3808611" cy="4264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E6FA30-62A4-264C-8A56-353FB6C9E9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36728" y="1789282"/>
            <a:ext cx="3808611" cy="4264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9A2599-2551-6E4F-9E05-3558426BB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BD755B-BAA0-BD49-8937-A3EFD5CDF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F435A8-DE3F-DF42-9FE8-94A7D27EF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720573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D21B7E-4194-C046-8518-9392A01CF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266" y="357857"/>
            <a:ext cx="7729240" cy="129917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6EDDCC-8C8B-E143-9699-2ECDEC006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7266" y="1647695"/>
            <a:ext cx="3791108" cy="807510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02366C-2F52-0E4C-A6AE-CF26AE4E7A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66" y="2455206"/>
            <a:ext cx="3791108" cy="3611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099215-205B-7D45-B0FE-98FFDFCC3D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536728" y="1647695"/>
            <a:ext cx="3809778" cy="807510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594957-627F-A048-9627-A4B6B87104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536728" y="2455206"/>
            <a:ext cx="3809778" cy="3611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B8C0EA-4372-BD43-86AC-7AFBB5CDA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06E23D-65A2-F141-854D-F64D61E66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318855B-299D-0C41-B5EC-40F58B37FD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83396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6E9CE-4499-C34F-8B3C-4461A7DBB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3BFAFEB-88D6-4242-B78B-933C6829D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6F8C37-E13E-C141-B021-E100D3525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704AEF-CE5B-1341-AC82-27221D087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4535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5B6EB9-2D90-E449-A513-199E3F0EDF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5AFFDD-680B-144E-9218-48A11070E8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F22B1A-D1D1-0647-8486-2A5BA230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53605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88AE7-8EE6-CE4C-961C-472E7FDD9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266" y="448098"/>
            <a:ext cx="2890297" cy="1568344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71A7F7-06AB-7E4E-BDEB-7D77D088A6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09778" y="967768"/>
            <a:ext cx="4536728" cy="4776604"/>
          </a:xfrm>
        </p:spPr>
        <p:txBody>
          <a:bodyPr/>
          <a:lstStyle>
            <a:lvl1pPr>
              <a:defRPr sz="2352"/>
            </a:lvl1pPr>
            <a:lvl2pPr>
              <a:defRPr sz="2058"/>
            </a:lvl2pPr>
            <a:lvl3pPr>
              <a:defRPr sz="176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B79A92-B893-7246-8E4C-297270F627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7266" y="2016443"/>
            <a:ext cx="2890297" cy="3735709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1F8B3A-C7E6-0248-85AF-3D7075CA93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A7ABBE-449A-D644-8643-D5F55408C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3B135D-9B17-264A-9639-6971C26E3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071265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r:id="rId4" imgW="158750" imgH="158750" progId="TCLayout.ActiveDocument.1">
                  <p:embed/>
                </p:oleObj>
              </mc:Choice>
              <mc:Fallback>
                <p:oleObj r:id="rId4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E4D817-8F92-0449-9AF4-7A6B74B61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357857"/>
            <a:ext cx="7729240" cy="12991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DF3F32-0D4A-4943-9E97-9F6F9B8501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6099" y="1789282"/>
            <a:ext cx="7729240" cy="4264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356E93-1A3D-0743-B2B2-936FF9533A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6099" y="6229812"/>
            <a:ext cx="2016324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0724AC-93EF-464B-8D88-BC8281C2CD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68477" y="6229812"/>
            <a:ext cx="3024485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94B43-9747-7441-9AFE-AD4C65517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29015" y="6229812"/>
            <a:ext cx="2016324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404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</p:sldLayoutIdLst>
  <p:hf hdr="0" ftr="0" dt="0"/>
  <p:txStyles>
    <p:titleStyle>
      <a:lvl1pPr algn="l" defTabSz="672084" rtl="0" eaLnBrk="1" latinLnBrk="0" hangingPunct="1">
        <a:lnSpc>
          <a:spcPct val="90000"/>
        </a:lnSpc>
        <a:spcBef>
          <a:spcPct val="0"/>
        </a:spcBef>
        <a:buNone/>
        <a:defRPr sz="323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8021" indent="-168021" algn="l" defTabSz="672084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058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470" kern="1200">
          <a:solidFill>
            <a:schemeClr val="tx1"/>
          </a:solidFill>
          <a:latin typeface="+mn-lt"/>
          <a:ea typeface="+mn-ea"/>
          <a:cs typeface="+mn-cs"/>
        </a:defRPr>
      </a:lvl3pPr>
      <a:lvl4pPr marL="117614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512189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848231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18427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85635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F740A-DA11-DB43-BFD7-C8D445055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625" y="3360737"/>
            <a:ext cx="8329808" cy="4977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sz="3200" b="1" dirty="0">
                <a:solidFill>
                  <a:schemeClr val="dk1"/>
                </a:solidFill>
                <a:latin typeface="Arial"/>
                <a:cs typeface="Arial"/>
                <a:sym typeface="Arial"/>
              </a:rPr>
              <a:t>US Accidents 2019 – Executive Present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54C3E9C-B862-3447-A608-78B1B13414CF}"/>
              </a:ext>
            </a:extLst>
          </p:cNvPr>
          <p:cNvSpPr/>
          <p:nvPr/>
        </p:nvSpPr>
        <p:spPr>
          <a:xfrm>
            <a:off x="0" y="4759890"/>
            <a:ext cx="8961438" cy="19615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Google Shape;42;p1">
            <a:extLst>
              <a:ext uri="{FF2B5EF4-FFF2-40B4-BE49-F238E27FC236}">
                <a16:creationId xmlns:a16="http://schemas.microsoft.com/office/drawing/2014/main" id="{8B8C423D-C839-4045-AF4C-7182ADB8E31F}"/>
              </a:ext>
            </a:extLst>
          </p:cNvPr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07/28/2020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43;p1">
            <a:extLst>
              <a:ext uri="{FF2B5EF4-FFF2-40B4-BE49-F238E27FC236}">
                <a16:creationId xmlns:a16="http://schemas.microsoft.com/office/drawing/2014/main" id="{6999D97F-91C9-4D49-BE5B-51698FD2720E}"/>
              </a:ext>
            </a:extLst>
          </p:cNvPr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Rochini Paidisett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43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71449" y="81329"/>
            <a:ext cx="8618537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AU" sz="1600" dirty="0"/>
              <a:t>Analyse US accidents data of 2019 to provide Recommendations based on the insights generated and build a model to predict the severity of accidents given the weather conditions as input.</a:t>
            </a:r>
          </a:p>
        </p:txBody>
      </p:sp>
      <p:grpSp>
        <p:nvGrpSpPr>
          <p:cNvPr id="49" name="Google Shape;49;p3"/>
          <p:cNvGrpSpPr/>
          <p:nvPr/>
        </p:nvGrpSpPr>
        <p:grpSpPr>
          <a:xfrm>
            <a:off x="721859" y="1825875"/>
            <a:ext cx="7341871" cy="1462345"/>
            <a:chOff x="709649" y="1412776"/>
            <a:chExt cx="7491440" cy="1492136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952547" y="2069732"/>
              <a:ext cx="3528392" cy="6480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Problem 1</a:t>
              </a:r>
            </a:p>
            <a:p>
              <a:pPr lvl="0" algn="ctr"/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Identify any patterns or outstanding observations to provide recommendations. </a:t>
              </a:r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solidFill>
              <a:srgbClr val="F6A40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4627557" y="1838066"/>
              <a:ext cx="3528392" cy="6480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lvl="0" algn="ctr"/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To understand if there are any patterns or any specific location or weather specific conditions leading to the accidents.</a:t>
              </a:r>
              <a:endParaRPr dirty="0"/>
            </a:p>
          </p:txBody>
        </p:sp>
      </p:grpSp>
      <p:sp>
        <p:nvSpPr>
          <p:cNvPr id="60" name="Google Shape;60;p3"/>
          <p:cNvSpPr/>
          <p:nvPr/>
        </p:nvSpPr>
        <p:spPr>
          <a:xfrm>
            <a:off x="882492" y="4166802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3"/>
          <p:cNvSpPr/>
          <p:nvPr/>
        </p:nvSpPr>
        <p:spPr>
          <a:xfrm>
            <a:off x="720250" y="4037740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62" name="Google Shape;62;p3"/>
          <p:cNvSpPr/>
          <p:nvPr/>
        </p:nvSpPr>
        <p:spPr>
          <a:xfrm>
            <a:off x="4473110" y="4166802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3"/>
          <p:cNvSpPr/>
          <p:nvPr/>
        </p:nvSpPr>
        <p:spPr>
          <a:xfrm>
            <a:off x="934383" y="4710346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Problem 3</a:t>
            </a:r>
          </a:p>
          <a:p>
            <a:pPr algn="ctr"/>
            <a:r>
              <a:rPr lang="en-US" sz="1176" b="1" dirty="0">
                <a:solidFill>
                  <a:srgbClr val="002060"/>
                </a:solidFill>
                <a:latin typeface="Quattrocento Sans"/>
              </a:rPr>
              <a:t>Generate a model to predict the severity of an accident.</a:t>
            </a:r>
            <a:endParaRPr sz="1176" b="1" dirty="0">
              <a:solidFill>
                <a:srgbClr val="002060"/>
              </a:solidFill>
              <a:latin typeface="Quattrocento Sans"/>
            </a:endParaRPr>
          </a:p>
        </p:txBody>
      </p:sp>
      <p:sp>
        <p:nvSpPr>
          <p:cNvPr id="64" name="Google Shape;64;p3"/>
          <p:cNvSpPr/>
          <p:nvPr/>
        </p:nvSpPr>
        <p:spPr>
          <a:xfrm>
            <a:off x="4480718" y="4563896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To generate a model that can take the weather conditions and predict the severity of an accident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7349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DA9F9-4B6F-8240-8BF0-212F27193D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0" y="163361"/>
            <a:ext cx="8618537" cy="582873"/>
          </a:xfrm>
        </p:spPr>
        <p:txBody>
          <a:bodyPr/>
          <a:lstStyle/>
          <a:p>
            <a:r>
              <a:rPr lang="en-US" sz="1600" dirty="0"/>
              <a:t>With 72% of accidents in 2019 are of Severity 2, California has the highest number of accidents of 213,307 which is 22% of the total number of accidents in 2019.</a:t>
            </a:r>
          </a:p>
        </p:txBody>
      </p:sp>
      <p:sp>
        <p:nvSpPr>
          <p:cNvPr id="7" name="Google Shape;66;p2">
            <a:extLst>
              <a:ext uri="{FF2B5EF4-FFF2-40B4-BE49-F238E27FC236}">
                <a16:creationId xmlns:a16="http://schemas.microsoft.com/office/drawing/2014/main" id="{FAD7C973-FC4B-5C4B-BD3D-6E55DE46B825}"/>
              </a:ext>
            </a:extLst>
          </p:cNvPr>
          <p:cNvSpPr/>
          <p:nvPr/>
        </p:nvSpPr>
        <p:spPr>
          <a:xfrm>
            <a:off x="171450" y="5037970"/>
            <a:ext cx="1031689" cy="2171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Google Shape;64;p2">
            <a:extLst>
              <a:ext uri="{FF2B5EF4-FFF2-40B4-BE49-F238E27FC236}">
                <a16:creationId xmlns:a16="http://schemas.microsoft.com/office/drawing/2014/main" id="{19096667-2B67-284E-86E0-6203656DECB6}"/>
              </a:ext>
            </a:extLst>
          </p:cNvPr>
          <p:cNvSpPr txBox="1"/>
          <p:nvPr/>
        </p:nvSpPr>
        <p:spPr>
          <a:xfrm>
            <a:off x="171450" y="5279678"/>
            <a:ext cx="8618536" cy="1169511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921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AutoNum type="arabicPeriod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alifornia, Texas:</a:t>
            </a:r>
          </a:p>
          <a:p>
            <a:pPr marL="63500" lvl="4">
              <a:buClr>
                <a:schemeClr val="dk1"/>
              </a:buClr>
              <a:buSzPts val="1000"/>
            </a:pPr>
            <a:r>
              <a:rPr lang="en-US" sz="1000" b="1" dirty="0">
                <a:solidFill>
                  <a:schemeClr val="dk1"/>
                </a:solidFill>
              </a:rPr>
              <a:t>	1. More Vehicle speed monitors to be installed on the roads to check for the obedience of the Speed limits. </a:t>
            </a:r>
          </a:p>
          <a:p>
            <a:pPr marL="63500" lvl="4">
              <a:buClr>
                <a:schemeClr val="dk1"/>
              </a:buClr>
              <a:buSzPts val="1000"/>
            </a:pPr>
            <a:r>
              <a:rPr lang="en-US" sz="1000" b="1" dirty="0">
                <a:solidFill>
                  <a:schemeClr val="dk1"/>
                </a:solidFill>
              </a:rPr>
              <a:t>	2. Traffic tickets issuance / traffic rules should be made more stringent to inculcate careful drive for individuals.</a:t>
            </a:r>
          </a:p>
          <a:p>
            <a:pPr marL="63500" lvl="4">
              <a:buClr>
                <a:schemeClr val="dk1"/>
              </a:buClr>
              <a:buSzPts val="1000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. South Dakota, SD: </a:t>
            </a:r>
            <a:r>
              <a:rPr lang="en-US" sz="1000" b="1" dirty="0">
                <a:solidFill>
                  <a:schemeClr val="dk1"/>
                </a:solidFill>
              </a:rPr>
              <a:t>Though SD is a state with a very a smaller number of accidents of 27, 85% of the accidents in the state are of Severity - 4.</a:t>
            </a:r>
            <a:endParaRPr lang="en-US"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3500" lvl="4">
              <a:buClr>
                <a:schemeClr val="dk1"/>
              </a:buClr>
              <a:buSzPts val="1000"/>
            </a:pPr>
            <a:r>
              <a:rPr lang="en-US" sz="1000" b="1" dirty="0">
                <a:solidFill>
                  <a:schemeClr val="dk1"/>
                </a:solidFill>
              </a:rPr>
              <a:t>	1. Traffic Department of South Dakota needs to prioritize and look for better ways to clear the accident cite to reduce the impact on the traffic</a:t>
            </a: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51F962-2822-8A4D-BB25-8C5904C11D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448" y="998482"/>
            <a:ext cx="8618537" cy="390984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5D300C4-1EDD-F54A-A07B-457A986F87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97104" y="1249690"/>
            <a:ext cx="984441" cy="8944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2A32AD2-8FE3-8C40-A52C-1F70023F0422}"/>
              </a:ext>
            </a:extLst>
          </p:cNvPr>
          <p:cNvSpPr/>
          <p:nvPr/>
        </p:nvSpPr>
        <p:spPr>
          <a:xfrm>
            <a:off x="1313793" y="1587062"/>
            <a:ext cx="1597573" cy="557049"/>
          </a:xfrm>
          <a:prstGeom prst="rect">
            <a:avLst/>
          </a:prstGeom>
          <a:ln>
            <a:prstDash val="dash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CA with highest number of accidents of 213,307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0CEF67D-31CB-014D-BAA2-9F3856017766}"/>
              </a:ext>
            </a:extLst>
          </p:cNvPr>
          <p:cNvCxnSpPr/>
          <p:nvPr/>
        </p:nvCxnSpPr>
        <p:spPr>
          <a:xfrm>
            <a:off x="819807" y="1581355"/>
            <a:ext cx="493986" cy="21591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F9F217B-D7F9-9F42-894B-E1602559E941}"/>
              </a:ext>
            </a:extLst>
          </p:cNvPr>
          <p:cNvSpPr txBox="1"/>
          <p:nvPr/>
        </p:nvSpPr>
        <p:spPr>
          <a:xfrm>
            <a:off x="109730" y="6506031"/>
            <a:ext cx="21868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Source: US Accidents Data set from Kaggle</a:t>
            </a:r>
          </a:p>
        </p:txBody>
      </p:sp>
    </p:spTree>
    <p:extLst>
      <p:ext uri="{BB962C8B-B14F-4D97-AF65-F5344CB8AC3E}">
        <p14:creationId xmlns:p14="http://schemas.microsoft.com/office/powerpoint/2010/main" val="40449393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6DF72B-CA86-0846-B621-2DDD4B29C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Majority of the accidents are on the East zone of the country out of the four zone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7CDA93-F83C-5849-B60F-9AEC1FC3F2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57" y="998483"/>
            <a:ext cx="8618538" cy="509751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0807CB9-E163-4F4E-BF44-CB2B533B707A}"/>
              </a:ext>
            </a:extLst>
          </p:cNvPr>
          <p:cNvSpPr/>
          <p:nvPr/>
        </p:nvSpPr>
        <p:spPr>
          <a:xfrm>
            <a:off x="5675586" y="1902372"/>
            <a:ext cx="2585545" cy="3930869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9445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16878-DA05-C944-984B-495B32F4E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94593"/>
            <a:ext cx="8618537" cy="584775"/>
          </a:xfrm>
        </p:spPr>
        <p:txBody>
          <a:bodyPr/>
          <a:lstStyle/>
          <a:p>
            <a:r>
              <a:rPr lang="en-US" dirty="0"/>
              <a:t>Three cities from the top five Cities with highest number of accidents are from the state Texa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F7AEF5-FB3D-914E-8CA0-BB8BDA1639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784" y="945932"/>
            <a:ext cx="6226037" cy="5559971"/>
          </a:xfrm>
          <a:prstGeom prst="rect">
            <a:avLst/>
          </a:prstGeom>
        </p:spPr>
      </p:pic>
      <p:sp>
        <p:nvSpPr>
          <p:cNvPr id="5" name="Google Shape;66;p2">
            <a:extLst>
              <a:ext uri="{FF2B5EF4-FFF2-40B4-BE49-F238E27FC236}">
                <a16:creationId xmlns:a16="http://schemas.microsoft.com/office/drawing/2014/main" id="{07194B9F-A72A-8847-9EB5-00D113CFD66A}"/>
              </a:ext>
            </a:extLst>
          </p:cNvPr>
          <p:cNvSpPr/>
          <p:nvPr/>
        </p:nvSpPr>
        <p:spPr>
          <a:xfrm>
            <a:off x="6540719" y="1233226"/>
            <a:ext cx="1031689" cy="1856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26A2B1-9CC8-8A4A-A45F-8EAA644B15D5}"/>
              </a:ext>
            </a:extLst>
          </p:cNvPr>
          <p:cNvSpPr/>
          <p:nvPr/>
        </p:nvSpPr>
        <p:spPr>
          <a:xfrm>
            <a:off x="6540719" y="1418898"/>
            <a:ext cx="2249269" cy="3489434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2025C2-B17C-6946-9111-09997ADCC1EE}"/>
              </a:ext>
            </a:extLst>
          </p:cNvPr>
          <p:cNvSpPr txBox="1"/>
          <p:nvPr/>
        </p:nvSpPr>
        <p:spPr>
          <a:xfrm>
            <a:off x="6565054" y="1537995"/>
            <a:ext cx="2224934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200" dirty="0"/>
              <a:t>Houston is the city with highest number of Accidents of 22,188.</a:t>
            </a:r>
          </a:p>
          <a:p>
            <a:pPr marL="342900" indent="-342900">
              <a:buAutoNum type="arabicPeriod"/>
            </a:pPr>
            <a:endParaRPr lang="en-US" sz="1200" dirty="0"/>
          </a:p>
          <a:p>
            <a:pPr marL="342900" indent="-342900">
              <a:buFont typeface="Arial"/>
              <a:buAutoNum type="arabicPeriod"/>
            </a:pPr>
            <a:r>
              <a:rPr lang="en-US" sz="1200" dirty="0"/>
              <a:t>More Vehicle speed monitors to be installed on the roads to check for the obedience of the Speed limits.</a:t>
            </a:r>
          </a:p>
          <a:p>
            <a:pPr marL="342900" indent="-342900">
              <a:buFont typeface="Arial"/>
              <a:buAutoNum type="arabicPeriod"/>
            </a:pPr>
            <a:endParaRPr lang="en-US" sz="1200" dirty="0"/>
          </a:p>
          <a:p>
            <a:pPr marL="342900" indent="-342900">
              <a:buFont typeface="Arial"/>
              <a:buAutoNum type="arabicPeriod"/>
            </a:pPr>
            <a:r>
              <a:rPr lang="en-US" sz="1200" dirty="0"/>
              <a:t>Traffic tickets issuance / traffic rules should be made more stringent to inculcate careful drive for individuals.</a:t>
            </a:r>
          </a:p>
          <a:p>
            <a:pPr marL="342900" indent="-342900"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5541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208D98-E095-054F-9CD7-75BC99C21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369332"/>
          </a:xfrm>
        </p:spPr>
        <p:txBody>
          <a:bodyPr/>
          <a:lstStyle/>
          <a:p>
            <a:r>
              <a:rPr lang="en-US" sz="2400" b="1" dirty="0"/>
              <a:t>85% of the accidents in South Dakota are of Severity - 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605E65A-3FEF-BA48-A638-A4C9F82F39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17699"/>
            <a:ext cx="8961438" cy="1356233"/>
          </a:xfrm>
          <a:prstGeom prst="rect">
            <a:avLst/>
          </a:prstGeom>
        </p:spPr>
      </p:pic>
      <p:sp>
        <p:nvSpPr>
          <p:cNvPr id="6" name="Google Shape;66;p2">
            <a:extLst>
              <a:ext uri="{FF2B5EF4-FFF2-40B4-BE49-F238E27FC236}">
                <a16:creationId xmlns:a16="http://schemas.microsoft.com/office/drawing/2014/main" id="{7625BD13-CC0B-6641-9264-CD67597F1C56}"/>
              </a:ext>
            </a:extLst>
          </p:cNvPr>
          <p:cNvSpPr/>
          <p:nvPr/>
        </p:nvSpPr>
        <p:spPr>
          <a:xfrm>
            <a:off x="171451" y="4076633"/>
            <a:ext cx="1031689" cy="25737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EA9284-8430-CB4B-B8C8-08ECC323AFD4}"/>
              </a:ext>
            </a:extLst>
          </p:cNvPr>
          <p:cNvSpPr/>
          <p:nvPr/>
        </p:nvSpPr>
        <p:spPr>
          <a:xfrm>
            <a:off x="171451" y="4334004"/>
            <a:ext cx="8521612" cy="17912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0E195C8-54A0-F843-972B-9697D85F8E33}"/>
              </a:ext>
            </a:extLst>
          </p:cNvPr>
          <p:cNvSpPr txBox="1"/>
          <p:nvPr/>
        </p:nvSpPr>
        <p:spPr>
          <a:xfrm>
            <a:off x="171452" y="4514744"/>
            <a:ext cx="85216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. </a:t>
            </a:r>
            <a:r>
              <a:rPr lang="en-US" dirty="0">
                <a:solidFill>
                  <a:schemeClr val="dk1"/>
                </a:solidFill>
              </a:rPr>
              <a:t>Traffic Department of South Dakota needs to prioritize and look for better ways to clear the accident cite to reduce the impact on the traffic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265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09E1AD-8C3E-934B-9F50-EFC9700EB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Highest number of accidents in a day occurred during the start and end timings of office hour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E68F965-731D-4A40-A41E-1CBE49F750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50" y="1061545"/>
            <a:ext cx="8618537" cy="5426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191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B6D4E0-517D-A44A-B162-DDEF3FDF7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The longest effect of accidents on traffic in a day are at the start and end timings of the office hou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5EB474-8469-CC4E-B976-864E5075BD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50" y="1077244"/>
            <a:ext cx="8618537" cy="541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4519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4E06EB-DD1E-AE47-B15E-A1920EA29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s: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513F21-E153-4642-A94B-CAC54CFB1FAA}"/>
              </a:ext>
            </a:extLst>
          </p:cNvPr>
          <p:cNvSpPr/>
          <p:nvPr/>
        </p:nvSpPr>
        <p:spPr>
          <a:xfrm>
            <a:off x="171451" y="1181100"/>
            <a:ext cx="8618537" cy="52197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317C6B-A252-364B-8264-BA8F450FA5E7}"/>
              </a:ext>
            </a:extLst>
          </p:cNvPr>
          <p:cNvSpPr txBox="1"/>
          <p:nvPr/>
        </p:nvSpPr>
        <p:spPr>
          <a:xfrm>
            <a:off x="295276" y="1343025"/>
            <a:ext cx="840105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More Vehicle speed monitors to be installed on the roads of California and Texas to check for the obedience of the Speed limits. </a:t>
            </a:r>
          </a:p>
          <a:p>
            <a:pPr marL="342900" indent="-342900">
              <a:buFont typeface="Arial"/>
              <a:buAutoNum type="arabicPeriod"/>
            </a:pPr>
            <a:endParaRPr lang="en-US" dirty="0"/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Traffic tickets issuance / traffic rules should be made more stringent in California and Texas  to inculcate careful drive for individuals.</a:t>
            </a:r>
          </a:p>
          <a:p>
            <a:pPr marL="342900" indent="-342900">
              <a:buFont typeface="Arial"/>
              <a:buAutoNum type="arabicPeriod"/>
            </a:pPr>
            <a:endParaRPr lang="en-US" dirty="0"/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Traffic Department of South Dakota needs to prioritize and look for better ways to clear the accident cite to reduce the impact on the traffic.</a:t>
            </a: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A predictive model is generated to predict the Severity of an accidents given the weather conditions.</a:t>
            </a: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This model be used by the traffic team to predict the severity of an accident occurred and act in accordance with it.</a:t>
            </a:r>
          </a:p>
          <a:p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001021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7</TotalTime>
  <Words>559</Words>
  <Application>Microsoft Macintosh PowerPoint</Application>
  <PresentationFormat>Custom</PresentationFormat>
  <Paragraphs>52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Quattrocento Sans</vt:lpstr>
      <vt:lpstr>Synergy_CF_YNR002</vt:lpstr>
      <vt:lpstr>Office Theme</vt:lpstr>
      <vt:lpstr>TCLayout.ActiveDocument.1</vt:lpstr>
      <vt:lpstr>US Accidents 2019 – Executive Presentation</vt:lpstr>
      <vt:lpstr>Analyse US accidents data of 2019 to provide Recommendations based on the insights generated and build a model to predict the severity of accidents given the weather conditions as input.</vt:lpstr>
      <vt:lpstr>With 72% of accidents in 2019 are of Severity 2, California has the highest number of accidents of 213,307 which is 22% of the total number of accidents in 2019.</vt:lpstr>
      <vt:lpstr>Majority of the accidents are on the East zone of the country out of the four zones.</vt:lpstr>
      <vt:lpstr>Three cities from the top five Cities with highest number of accidents are from the state Texas.</vt:lpstr>
      <vt:lpstr>85% of the accidents in South Dakota are of Severity - 4</vt:lpstr>
      <vt:lpstr>Highest number of accidents in a day occurred during the start and end timings of office hours.</vt:lpstr>
      <vt:lpstr>The longest effect of accidents on traffic in a day are at the start and end timings of the office hours</vt:lpstr>
      <vt:lpstr>Recommendations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Rochini Paidisetty</cp:lastModifiedBy>
  <cp:revision>11</cp:revision>
  <dcterms:created xsi:type="dcterms:W3CDTF">2015-09-14T11:37:31Z</dcterms:created>
  <dcterms:modified xsi:type="dcterms:W3CDTF">2020-07-30T22:0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